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451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EA0A0"/>
    <a:srgbClr val="FFBDBD"/>
    <a:srgbClr val="DCEA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420" autoAdjust="0"/>
    <p:restoredTop sz="94660"/>
  </p:normalViewPr>
  <p:slideViewPr>
    <p:cSldViewPr snapToGrid="0">
      <p:cViewPr varScale="1">
        <p:scale>
          <a:sx n="59" d="100"/>
          <a:sy n="59" d="100"/>
        </p:scale>
        <p:origin x="984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EB0129-AF8A-4E33-B313-96375ED49D4D}" type="datetimeFigureOut">
              <a:rPr lang="en-US" smtClean="0"/>
              <a:t>1/8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48737A-0C3B-4492-BAE8-63294F35D8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26326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3FC6FF-BAB9-B077-83AF-AEBE63FB99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BF454BA-A793-DECE-A4F5-C723EBBFF46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AB9D9BE-446B-E4BD-91E6-1ACAE0222E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AAFA1E-2694-2752-F321-C16E8B47CAF1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AA1A28-ABA0-5045-AC96-BD57CB31D067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/10/20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BDC8FA6-DBF2-178D-E0F5-63E8FBBCB9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A3AA803-E865-4BA5-B145-955CF975FF3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21503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E5C3D4-952F-490D-D816-23AA13F2CA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1C0215F-90AD-32BF-E20F-3F7541BAD8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14FF00-5A9A-7980-8B19-FAF93AEE8F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1D1B33-E113-488A-93C9-F68FA6F5A51D}" type="datetimeFigureOut">
              <a:rPr lang="en-US" smtClean="0"/>
              <a:t>1/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14BFE3-806C-0F63-9419-78142C8B61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36F065-58FB-A91C-2AA1-5475A50812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D37D8E-001C-4E86-8825-DA2BB8D836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67106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866ABD-A062-886F-648D-7B28783AFA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797040F-6F48-9654-9845-D130AC75232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615909-4A0C-6F68-D787-708EF83DF1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1D1B33-E113-488A-93C9-F68FA6F5A51D}" type="datetimeFigureOut">
              <a:rPr lang="en-US" smtClean="0"/>
              <a:t>1/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29D20EB-46D5-BEBE-E91D-173772B116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33AAF7-7A26-4001-3F60-75BDBACC6E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D37D8E-001C-4E86-8825-DA2BB8D836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64832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C6DC365-6F25-0C8F-CFBC-EDFF1E41420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5B30EDA-422C-A1BA-21FA-636153AB1F4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FDA381-BAF9-18DF-472C-BD944D1DF1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1D1B33-E113-488A-93C9-F68FA6F5A51D}" type="datetimeFigureOut">
              <a:rPr lang="en-US" smtClean="0"/>
              <a:t>1/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C10846-EAD6-C5DD-EB25-E5397B1205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93600E-0103-65B3-B758-B54859BD31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D37D8E-001C-4E86-8825-DA2BB8D836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29203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D99DF0-543F-3467-6846-920477C71F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2CC210-018B-8A09-C370-FFE0758D2C1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1432C6-8F34-9610-EE5B-E47CB413EC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1D1B33-E113-488A-93C9-F68FA6F5A51D}" type="datetimeFigureOut">
              <a:rPr lang="en-US" smtClean="0"/>
              <a:t>1/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7081B3-A125-8139-BADF-2020634522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93885B-D8EB-75B5-0336-7CA5AAFC58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D37D8E-001C-4E86-8825-DA2BB8D836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83997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D44838-5148-9A3E-170D-C45F1E7517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382707-BC59-8C94-9535-54B8D2C284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553069-ECAA-9144-0F7F-601331C934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1D1B33-E113-488A-93C9-F68FA6F5A51D}" type="datetimeFigureOut">
              <a:rPr lang="en-US" smtClean="0"/>
              <a:t>1/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E7AEE1-4A07-3826-E0B4-C74049FBF0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A8B48DD-F8BD-434A-F90D-C160932684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D37D8E-001C-4E86-8825-DA2BB8D836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71350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E0220F-5B0F-5697-D1EA-831D3AC03C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E4503F-49A9-FF99-7B45-CA76565F377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DEC6A65-1403-559D-D211-5B13988F1CC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A6FE6F1-45D9-40E3-D012-F512DEE887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1D1B33-E113-488A-93C9-F68FA6F5A51D}" type="datetimeFigureOut">
              <a:rPr lang="en-US" smtClean="0"/>
              <a:t>1/8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0CCEBC4-4F19-0A04-CA53-D2FD0C051F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84F614F-8F06-B254-591D-4693DD1BCB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D37D8E-001C-4E86-8825-DA2BB8D836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06223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09D1AD-4666-2A28-DEF9-23D880FDD9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F7163A-9CF7-5684-CDE9-2267AC0D39F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FA020A8-9B85-FC46-AF3B-1990F719915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E06337-20FE-5B04-4222-6EFD7B6FD14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FAE67FC-5954-BE37-6436-8EB42FCDEA2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FBBCC51-EA95-9673-42EE-C90AC19378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1D1B33-E113-488A-93C9-F68FA6F5A51D}" type="datetimeFigureOut">
              <a:rPr lang="en-US" smtClean="0"/>
              <a:t>1/8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53A8452-4562-DD9E-88FC-78723BD315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F557A10-3A3D-7B6E-38C5-BDD3BA446B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D37D8E-001C-4E86-8825-DA2BB8D836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64864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0A9FF5-1C52-EE32-180D-9B863140F6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794A944-3C16-C3BA-4A08-929504DB7B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1D1B33-E113-488A-93C9-F68FA6F5A51D}" type="datetimeFigureOut">
              <a:rPr lang="en-US" smtClean="0"/>
              <a:t>1/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44A8EE-792F-C43D-E840-6852F9E172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E69B326-E5F3-FBBC-EE18-CEDFCF092E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D37D8E-001C-4E86-8825-DA2BB8D836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69398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94459C5-D27B-0883-6059-E56443DF37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1D1B33-E113-488A-93C9-F68FA6F5A51D}" type="datetimeFigureOut">
              <a:rPr lang="en-US" smtClean="0"/>
              <a:t>1/8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5F6514F-88AA-E179-C07B-1497D8228E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B8A88A-8D54-4302-53B3-3B0448F71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D37D8E-001C-4E86-8825-DA2BB8D836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67070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130871-2534-F3FD-0CF3-F3F7C07962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A722484-2B4B-5587-6D3E-48598C3B6A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4576C6D-B01F-AC4F-1A94-11F60FE1F29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A2AC09C-3CF3-0534-1363-7A565676C9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1D1B33-E113-488A-93C9-F68FA6F5A51D}" type="datetimeFigureOut">
              <a:rPr lang="en-US" smtClean="0"/>
              <a:t>1/8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F004C21-DB37-390F-9369-F14113CAC9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7076BC4-C929-2F35-99BF-1656B03C86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D37D8E-001C-4E86-8825-DA2BB8D836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21445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B22B20-0D4E-16E0-9B39-E341AD2C3E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6A9DCC2-FAB0-F88E-536D-8294F6E1545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022F3A4-8584-CA64-F54F-8D054DEB1F5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F0EAFE0-33E5-C8CE-B828-0A2E428045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1D1B33-E113-488A-93C9-F68FA6F5A51D}" type="datetimeFigureOut">
              <a:rPr lang="en-US" smtClean="0"/>
              <a:t>1/8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3770EC5-5F59-B6A3-CAE3-59DF224B4C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21CB2E6-E896-31D9-93EE-398BB74910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D37D8E-001C-4E86-8825-DA2BB8D836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20584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A8F7455-AAEC-F310-6DB4-1614A60383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80A4D2-5FC6-500B-F940-6CA64EA456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19EF118-B348-C1DC-34DC-13BAC81BD6B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81D1B33-E113-488A-93C9-F68FA6F5A51D}" type="datetimeFigureOut">
              <a:rPr lang="en-US" smtClean="0"/>
              <a:t>1/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EE2ABF-9CB3-E56A-B255-CCC9333F74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35A861-A076-54FA-AF09-E2888E58B9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1D37D8E-001C-4E86-8825-DA2BB8D836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20619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2FA6DA-E654-C5F2-171E-C26459F737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DEF574A-C724-E720-74FC-E917F2506B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990C8F9-B09B-6848-B18D-C28FD48887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7261DBED-A82F-8BC0-0E5E-3BE6A90931B9}"/>
              </a:ext>
            </a:extLst>
          </p:cNvPr>
          <p:cNvSpPr/>
          <p:nvPr/>
        </p:nvSpPr>
        <p:spPr>
          <a:xfrm>
            <a:off x="369005" y="856163"/>
            <a:ext cx="2632213" cy="43489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1" u="none" strike="noStrike" kern="1200" cap="none" spc="0" normalizeH="0" baseline="0" noProof="0" dirty="0">
                <a:ln>
                  <a:noFill/>
                </a:ln>
                <a:solidFill>
                  <a:srgbClr val="FDC82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tivat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26EB9BB-FB0A-4FAB-D162-89FD36119F48}"/>
              </a:ext>
            </a:extLst>
          </p:cNvPr>
          <p:cNvSpPr/>
          <p:nvPr/>
        </p:nvSpPr>
        <p:spPr>
          <a:xfrm>
            <a:off x="369006" y="1211833"/>
            <a:ext cx="2890702" cy="4388860"/>
          </a:xfrm>
          <a:prstGeom prst="rect">
            <a:avLst/>
          </a:prstGeom>
          <a:solidFill>
            <a:schemeClr val="accent4">
              <a:lumMod val="20000"/>
              <a:lumOff val="80000"/>
              <a:alpha val="25108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4008" rIns="64008" rtlCol="0" anchor="t"/>
          <a:lstStyle/>
          <a:p>
            <a:pPr marL="174625" marR="0" lvl="0" indent="-174625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te the problem and questions your project idea is focused on </a:t>
            </a:r>
          </a:p>
          <a:p>
            <a:pPr marL="174625" marR="0" lvl="0" indent="-174625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 dirty="0">
                <a:solidFill>
                  <a:srgbClr val="000000"/>
                </a:solidFill>
                <a:latin typeface="Arial"/>
              </a:rPr>
              <a:t>Why is this an important problem?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4625" marR="0" lvl="0" indent="-174625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 </a:t>
            </a:r>
            <a:r>
              <a:rPr kumimoji="0" lang="en-US" sz="16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tart with a generic problem statements, e.g.: that climate change and decarbonization are  important issues.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DF77BC8-C6F1-1E0E-F32B-148F8FBA18AA}"/>
              </a:ext>
            </a:extLst>
          </p:cNvPr>
          <p:cNvSpPr txBox="1"/>
          <p:nvPr/>
        </p:nvSpPr>
        <p:spPr>
          <a:xfrm>
            <a:off x="3530607" y="6526228"/>
            <a:ext cx="830083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rIns="0" rtlCol="0">
            <a:spAutoFit/>
          </a:bodyPr>
          <a:lstStyle/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I name(s)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F406211-4350-0A22-8974-22B633FF96B4}"/>
              </a:ext>
            </a:extLst>
          </p:cNvPr>
          <p:cNvSpPr/>
          <p:nvPr/>
        </p:nvSpPr>
        <p:spPr>
          <a:xfrm>
            <a:off x="10861589" y="0"/>
            <a:ext cx="1330411" cy="203301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mplat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4F48955-E3B3-793F-6CC2-BB1A1F12818F}"/>
              </a:ext>
            </a:extLst>
          </p:cNvPr>
          <p:cNvSpPr/>
          <p:nvPr/>
        </p:nvSpPr>
        <p:spPr>
          <a:xfrm>
            <a:off x="6893242" y="3445412"/>
            <a:ext cx="4938201" cy="3027213"/>
          </a:xfrm>
          <a:prstGeom prst="rect">
            <a:avLst/>
          </a:prstGeom>
          <a:solidFill>
            <a:schemeClr val="accent2">
              <a:lumMod val="20000"/>
              <a:lumOff val="80000"/>
              <a:alpha val="28327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marR="0" lvl="0" indent="-34290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3-5 short statements, describe the </a:t>
            </a:r>
            <a:r>
              <a:rPr kumimoji="0" lang="en-US" sz="16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act and expected (hypothesized) take-away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 your study: How will this work accelerate, or inform, or impact the energy transition? What will we know that we didn’t before?</a:t>
            </a:r>
          </a:p>
          <a:p>
            <a:pPr marL="342900" marR="0" lvl="0" indent="-34290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en compiling the statements, you are encouraged to </a:t>
            </a:r>
            <a:r>
              <a:rPr kumimoji="0" lang="en-US" sz="16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nk about the “so what”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Why should people care about these findings?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594E559-0013-BC66-393A-625D034122E4}"/>
              </a:ext>
            </a:extLst>
          </p:cNvPr>
          <p:cNvCxnSpPr>
            <a:cxnSpLocks/>
          </p:cNvCxnSpPr>
          <p:nvPr/>
        </p:nvCxnSpPr>
        <p:spPr>
          <a:xfrm flipV="1">
            <a:off x="369007" y="1211832"/>
            <a:ext cx="2890700" cy="9095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8E2E84B1-3679-E5FB-2FED-84E2B43130ED}"/>
              </a:ext>
            </a:extLst>
          </p:cNvPr>
          <p:cNvSpPr/>
          <p:nvPr/>
        </p:nvSpPr>
        <p:spPr>
          <a:xfrm rot="16200000">
            <a:off x="5570874" y="1927451"/>
            <a:ext cx="2301030" cy="43489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srgbClr val="2B459B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b="1" i="1" u="none" strike="noStrike" kern="1200" cap="none" spc="0" normalizeH="0" baseline="0" noProof="0" dirty="0">
                <a:ln>
                  <a:noFill/>
                </a:ln>
                <a:solidFill>
                  <a:srgbClr val="2B459B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pproach &amp; scop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06A86AC-A19C-F2DE-4927-FA5794B06814}"/>
              </a:ext>
            </a:extLst>
          </p:cNvPr>
          <p:cNvSpPr/>
          <p:nvPr/>
        </p:nvSpPr>
        <p:spPr>
          <a:xfrm rot="16200000">
            <a:off x="5219817" y="4741568"/>
            <a:ext cx="3027213" cy="43489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1" u="none" strike="noStrike" kern="1200" cap="none" spc="0" normalizeH="0" baseline="0" noProof="0" dirty="0">
                <a:ln>
                  <a:noFill/>
                </a:ln>
                <a:solidFill>
                  <a:srgbClr val="F6471E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act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06A6D63-1149-3DC9-C430-A65734FE4638}"/>
              </a:ext>
            </a:extLst>
          </p:cNvPr>
          <p:cNvCxnSpPr>
            <a:cxnSpLocks/>
          </p:cNvCxnSpPr>
          <p:nvPr/>
        </p:nvCxnSpPr>
        <p:spPr>
          <a:xfrm>
            <a:off x="6905274" y="3445411"/>
            <a:ext cx="0" cy="3027212"/>
          </a:xfrm>
          <a:prstGeom prst="line">
            <a:avLst/>
          </a:prstGeom>
          <a:ln w="19050">
            <a:solidFill>
              <a:schemeClr val="accent2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3EFD7723-16BB-8405-4313-A22555B66E11}"/>
              </a:ext>
            </a:extLst>
          </p:cNvPr>
          <p:cNvSpPr/>
          <p:nvPr/>
        </p:nvSpPr>
        <p:spPr>
          <a:xfrm>
            <a:off x="6893242" y="994384"/>
            <a:ext cx="4938201" cy="2301031"/>
          </a:xfrm>
          <a:prstGeom prst="rect">
            <a:avLst/>
          </a:prstGeom>
          <a:solidFill>
            <a:schemeClr val="accent1">
              <a:lumMod val="20000"/>
              <a:lumOff val="80000"/>
              <a:alpha val="1183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marR="0" lvl="0" indent="-28575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scribe the scope of the project, including the system boundary, the specific technologies, and what region you are targeting</a:t>
            </a:r>
          </a:p>
          <a:p>
            <a:pPr marL="285750" marR="0" lvl="0" indent="-28575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vide a simple, high-level description of your research approach, timing, &amp; major deliverables</a:t>
            </a:r>
          </a:p>
          <a:p>
            <a:pPr marL="285750" marR="0" lvl="0" indent="-28575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 not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ttempt to provide a detailed description.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9540A90-BE8B-E746-8658-8000B11D0F64}"/>
              </a:ext>
            </a:extLst>
          </p:cNvPr>
          <p:cNvCxnSpPr>
            <a:cxnSpLocks/>
          </p:cNvCxnSpPr>
          <p:nvPr/>
        </p:nvCxnSpPr>
        <p:spPr>
          <a:xfrm flipV="1">
            <a:off x="6881210" y="994386"/>
            <a:ext cx="0" cy="2301029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BDA96F79-3CDB-3068-FC26-7D598C645824}"/>
              </a:ext>
            </a:extLst>
          </p:cNvPr>
          <p:cNvSpPr/>
          <p:nvPr/>
        </p:nvSpPr>
        <p:spPr>
          <a:xfrm>
            <a:off x="3428455" y="2002970"/>
            <a:ext cx="3029888" cy="3309259"/>
          </a:xfrm>
          <a:prstGeom prst="roundRect">
            <a:avLst>
              <a:gd name="adj" fmla="val 26061"/>
            </a:avLst>
          </a:prstGeom>
          <a:solidFill>
            <a:srgbClr val="77AA4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ctr"/>
          <a:lstStyle/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clude here a </a:t>
            </a:r>
            <a:r>
              <a:rPr kumimoji="0" lang="en-US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e-sentence 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tement on the main objective of your project: what is the idea, technology, policy, or tool you will develop, and how will it solve the problem?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A352711C-7842-B21A-E0F4-1E5199D269D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415" y="6126163"/>
            <a:ext cx="1188720" cy="633013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615F07C7-DE71-4557-A4E3-1450C027D1A1}"/>
              </a:ext>
            </a:extLst>
          </p:cNvPr>
          <p:cNvSpPr txBox="1"/>
          <p:nvPr/>
        </p:nvSpPr>
        <p:spPr>
          <a:xfrm>
            <a:off x="364781" y="98824"/>
            <a:ext cx="11462438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B459B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ject titl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B3B32B3B-44C5-7A79-8735-7B4CE0A1C591}"/>
              </a:ext>
            </a:extLst>
          </p:cNvPr>
          <p:cNvSpPr/>
          <p:nvPr/>
        </p:nvSpPr>
        <p:spPr>
          <a:xfrm>
            <a:off x="1890092" y="6393364"/>
            <a:ext cx="2890701" cy="40986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4008" rIns="64008" rtlCol="0" anchor="t"/>
          <a:lstStyle/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919191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ject duration: x months</a:t>
            </a:r>
            <a:b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919191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en-US" sz="1100" b="0" i="1" u="none" strike="noStrike" kern="1200" cap="none" spc="0" normalizeH="0" baseline="0" noProof="0" dirty="0">
              <a:ln>
                <a:noFill/>
              </a:ln>
              <a:solidFill>
                <a:srgbClr val="919191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Triangle 27">
            <a:extLst>
              <a:ext uri="{FF2B5EF4-FFF2-40B4-BE49-F238E27FC236}">
                <a16:creationId xmlns:a16="http://schemas.microsoft.com/office/drawing/2014/main" id="{855E9ABA-9CB1-87BC-32D0-D1DB9C874500}"/>
              </a:ext>
            </a:extLst>
          </p:cNvPr>
          <p:cNvSpPr/>
          <p:nvPr/>
        </p:nvSpPr>
        <p:spPr>
          <a:xfrm rot="5400000">
            <a:off x="3011246" y="3595278"/>
            <a:ext cx="741406" cy="93011"/>
          </a:xfrm>
          <a:prstGeom prst="triangle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3" name="Graphic 32" descr="Arrow: Clockwise curve with solid fill">
            <a:extLst>
              <a:ext uri="{FF2B5EF4-FFF2-40B4-BE49-F238E27FC236}">
                <a16:creationId xmlns:a16="http://schemas.microsoft.com/office/drawing/2014/main" id="{4E984600-97BE-8DDD-1439-929FBD6DB17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4898176">
            <a:off x="5567878" y="1246478"/>
            <a:ext cx="914400" cy="914400"/>
          </a:xfrm>
          <a:prstGeom prst="rect">
            <a:avLst/>
          </a:prstGeom>
        </p:spPr>
      </p:pic>
      <p:pic>
        <p:nvPicPr>
          <p:cNvPr id="35" name="Graphic 34" descr="Arrow: Clockwise curve with solid fill">
            <a:extLst>
              <a:ext uri="{FF2B5EF4-FFF2-40B4-BE49-F238E27FC236}">
                <a16:creationId xmlns:a16="http://schemas.microsoft.com/office/drawing/2014/main" id="{0D5E1D1E-A1F5-9EB5-72B7-FC304105062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6701824" flipV="1">
            <a:off x="5567877" y="5111745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0662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9025</TotalTime>
  <Words>211</Words>
  <Application>Microsoft Office PowerPoint</Application>
  <PresentationFormat>Widescreen</PresentationFormat>
  <Paragraphs>1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ptos</vt:lpstr>
      <vt:lpstr>Aptos Display</vt:lpstr>
      <vt:lpstr>Arial</vt:lpstr>
      <vt:lpstr>Calibri</vt:lpstr>
      <vt:lpstr>Office Theme</vt:lpstr>
      <vt:lpstr>think-cell Slide</vt:lpstr>
      <vt:lpstr>PowerPoint Presentation</vt:lpstr>
    </vt:vector>
  </TitlesOfParts>
  <Company>MI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organ Andreae</dc:creator>
  <cp:lastModifiedBy>Morgan Andreae</cp:lastModifiedBy>
  <cp:revision>23</cp:revision>
  <dcterms:created xsi:type="dcterms:W3CDTF">2024-10-03T19:34:29Z</dcterms:created>
  <dcterms:modified xsi:type="dcterms:W3CDTF">2025-01-13T14:30:27Z</dcterms:modified>
</cp:coreProperties>
</file>